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3.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F3007B-9C7A-4F8C-96B1-A9A15E037881}" v="64" dt="2023-01-31T22:34:45.9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7" d="100"/>
          <a:sy n="117" d="100"/>
        </p:scale>
        <p:origin x="102" y="49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2-23T00:56:52.811" v="1920" actId="27918"/>
      <pc:docMkLst>
        <pc:docMk/>
      </pc:docMkLst>
      <pc:sldChg chg="addSp delSp modSp mod">
        <pc:chgData name="Roberto Gallardo" userId="49a044883f185952" providerId="LiveId" clId="{3DF3007B-9C7A-4F8C-96B1-A9A15E037881}" dt="2023-01-31T22:34:23.602" v="1895" actId="20577"/>
        <pc:sldMkLst>
          <pc:docMk/>
          <pc:sldMk cId="2846901679" sldId="256"/>
        </pc:sldMkLst>
        <pc:spChg chg="mod">
          <ac:chgData name="Roberto Gallardo" userId="49a044883f185952" providerId="LiveId" clId="{3DF3007B-9C7A-4F8C-96B1-A9A15E037881}" dt="2023-01-31T22:34:23.602" v="1895" actId="20577"/>
          <ac:spMkLst>
            <pc:docMk/>
            <pc:sldMk cId="2846901679" sldId="256"/>
            <ac:spMk id="7" creationId="{B1E0ABEC-554C-720A-2772-F0324C8E93CA}"/>
          </ac:spMkLst>
        </pc:spChg>
        <pc:cxnChg chg="add mod">
          <ac:chgData name="Roberto Gallardo" userId="49a044883f185952" providerId="LiveId" clId="{3DF3007B-9C7A-4F8C-96B1-A9A15E037881}" dt="2023-01-15T18:21:09.806" v="1851"/>
          <ac:cxnSpMkLst>
            <pc:docMk/>
            <pc:sldMk cId="2846901679" sldId="256"/>
            <ac:cxnSpMk id="2" creationId="{CBBA2F7B-391D-2786-6ADC-926B8045D203}"/>
          </ac:cxnSpMkLst>
        </pc:cxnChg>
        <pc:cxnChg chg="del mod">
          <ac:chgData name="Roberto Gallardo" userId="49a044883f185952" providerId="LiveId" clId="{3DF3007B-9C7A-4F8C-96B1-A9A15E037881}" dt="2023-01-15T18:21:02.475" v="1850" actId="478"/>
          <ac:cxnSpMkLst>
            <pc:docMk/>
            <pc:sldMk cId="2846901679" sldId="256"/>
            <ac:cxnSpMk id="10" creationId="{13EFA7DF-2E74-6B37-435B-B8B810175C14}"/>
          </ac:cxnSpMkLst>
        </pc:cxnChg>
      </pc:sldChg>
      <pc:sldChg chg="mod">
        <pc:chgData name="Roberto Gallardo" userId="49a044883f185952" providerId="LiveId" clId="{3DF3007B-9C7A-4F8C-96B1-A9A15E037881}" dt="2023-02-23T00:56:52.811" v="1920" actId="27918"/>
        <pc:sldMkLst>
          <pc:docMk/>
          <pc:sldMk cId="3231157596" sldId="257"/>
        </pc:sldMkLst>
      </pc:sldChg>
      <pc:sldChg chg="modSp mod">
        <pc:chgData name="Roberto Gallardo" userId="49a044883f185952" providerId="LiveId" clId="{3DF3007B-9C7A-4F8C-96B1-A9A15E037881}" dt="2023-02-23T00:56:10.120" v="1908" actId="27918"/>
        <pc:sldMkLst>
          <pc:docMk/>
          <pc:sldMk cId="3702837515" sldId="258"/>
        </pc:sldMkLst>
        <pc:graphicFrameChg chg="mod">
          <ac:chgData name="Roberto Gallardo" userId="49a044883f185952" providerId="LiveId" clId="{3DF3007B-9C7A-4F8C-96B1-A9A15E037881}" dt="2023-01-15T17:36:12.116" v="1435"/>
          <ac:graphicFrameMkLst>
            <pc:docMk/>
            <pc:sldMk cId="3702837515" sldId="258"/>
            <ac:graphicFrameMk id="9" creationId="{A966EEC7-83EF-771C-E559-BAB55F5A621C}"/>
          </ac:graphicFrameMkLst>
        </pc:graphicFrameChg>
      </pc:sldChg>
      <pc:sldChg chg="mod">
        <pc:chgData name="Roberto Gallardo" userId="49a044883f185952" providerId="LiveId" clId="{3DF3007B-9C7A-4F8C-96B1-A9A15E037881}" dt="2023-02-23T00:56:31.896" v="1914" actId="27918"/>
        <pc:sldMkLst>
          <pc:docMk/>
          <pc:sldMk cId="2519083202" sldId="259"/>
        </pc:sldMkLst>
      </pc:sldChg>
      <pc:sldChg chg="mod">
        <pc:chgData name="Roberto Gallardo" userId="49a044883f185952" providerId="LiveId" clId="{3DF3007B-9C7A-4F8C-96B1-A9A15E037881}" dt="2023-01-15T17:35:15.434" v="1428" actId="27918"/>
        <pc:sldMkLst>
          <pc:docMk/>
          <pc:sldMk cId="3877078759" sldId="260"/>
        </pc:sldMkLst>
      </pc:sldChg>
      <pc:sldChg chg="mod">
        <pc:chgData name="Roberto Gallardo" userId="49a044883f185952" providerId="LiveId" clId="{3DF3007B-9C7A-4F8C-96B1-A9A15E037881}" dt="2023-01-15T17:40:27.466" v="1459" actId="27918"/>
        <pc:sldMkLst>
          <pc:docMk/>
          <pc:sldMk cId="1175010214" sldId="261"/>
        </pc:sldMkLst>
      </pc:sldChg>
      <pc:sldChg chg="addSp delSp modSp mod">
        <pc:chgData name="Roberto Gallardo" userId="49a044883f185952" providerId="LiveId" clId="{3DF3007B-9C7A-4F8C-96B1-A9A15E037881}" dt="2023-01-15T17:41:19.581" v="1469" actId="1076"/>
        <pc:sldMkLst>
          <pc:docMk/>
          <pc:sldMk cId="1418533539" sldId="271"/>
        </pc:sldMkLst>
        <pc:picChg chg="add del mod">
          <ac:chgData name="Roberto Gallardo" userId="49a044883f185952" providerId="LiveId" clId="{3DF3007B-9C7A-4F8C-96B1-A9A15E037881}" dt="2023-01-15T17:40:42.131" v="1460" actId="478"/>
          <ac:picMkLst>
            <pc:docMk/>
            <pc:sldMk cId="1418533539" sldId="271"/>
            <ac:picMk id="6" creationId="{AA324F2A-B126-1213-F38B-7FC8BB6EC3B1}"/>
          </ac:picMkLst>
        </pc:picChg>
        <pc:picChg chg="add mod">
          <ac:chgData name="Roberto Gallardo" userId="49a044883f185952" providerId="LiveId" clId="{3DF3007B-9C7A-4F8C-96B1-A9A15E037881}" dt="2023-01-15T17:41:19.581" v="1469" actId="1076"/>
          <ac:picMkLst>
            <pc:docMk/>
            <pc:sldMk cId="1418533539" sldId="271"/>
            <ac:picMk id="7" creationId="{2F15C3FC-B04E-31FA-10E5-0CC0CA675769}"/>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5T17:39:32.744" v="1453" actId="27918"/>
        <pc:sldMkLst>
          <pc:docMk/>
          <pc:sldMk cId="2653937722" sldId="272"/>
        </pc:sldMkLst>
      </pc:sldChg>
      <pc:sldChg chg="modSp mod">
        <pc:chgData name="Roberto Gallardo" userId="49a044883f185952" providerId="LiveId" clId="{3DF3007B-9C7A-4F8C-96B1-A9A15E037881}" dt="2023-01-15T18:10:59.598" v="1790" actId="27918"/>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5T18:12:41.531" v="1831" actId="27918"/>
        <pc:sldMkLst>
          <pc:docMk/>
          <pc:sldMk cId="3802335161" sldId="274"/>
        </pc:sldMkLst>
      </pc:sldChg>
      <pc:sldChg chg="mod">
        <pc:chgData name="Roberto Gallardo" userId="49a044883f185952" providerId="LiveId" clId="{3DF3007B-9C7A-4F8C-96B1-A9A15E037881}" dt="2023-01-15T18:13:31.205" v="1842" actId="27918"/>
        <pc:sldMkLst>
          <pc:docMk/>
          <pc:sldMk cId="4292554322" sldId="275"/>
        </pc:sldMkLst>
      </pc:sldChg>
      <pc:sldChg chg="addSp delSp modSp mod">
        <pc:chgData name="Roberto Gallardo" userId="49a044883f185952" providerId="LiveId" clId="{3DF3007B-9C7A-4F8C-96B1-A9A15E037881}" dt="2023-01-31T22:34:50.028" v="1902" actId="1036"/>
        <pc:sldMkLst>
          <pc:docMk/>
          <pc:sldMk cId="513409896" sldId="276"/>
        </pc:sldMkLst>
        <pc:spChg chg="add mod">
          <ac:chgData name="Roberto Gallardo" userId="49a044883f185952" providerId="LiveId" clId="{3DF3007B-9C7A-4F8C-96B1-A9A15E037881}" dt="2023-01-31T22:34:50.028" v="1902" actId="1036"/>
          <ac:spMkLst>
            <pc:docMk/>
            <pc:sldMk cId="513409896" sldId="276"/>
            <ac:spMk id="3" creationId="{AADBAC77-8094-925B-9C83-2132E5A4A84C}"/>
          </ac:spMkLst>
        </pc:spChg>
        <pc:spChg chg="add mod">
          <ac:chgData name="Roberto Gallardo" userId="49a044883f185952" providerId="LiveId" clId="{3DF3007B-9C7A-4F8C-96B1-A9A15E037881}" dt="2023-01-31T22:34:50.028" v="1902" actId="103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5T18:12:15.143" v="1827"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5T18:11:57.965" v="1814" actId="1035"/>
          <ac:cxnSpMkLst>
            <pc:docMk/>
            <pc:sldMk cId="513409896" sldId="276"/>
            <ac:cxnSpMk id="22" creationId="{1B423FA0-E4B3-6570-929B-A9283D503787}"/>
          </ac:cxnSpMkLst>
        </pc:cxnChg>
        <pc:cxnChg chg="mod">
          <ac:chgData name="Roberto Gallardo" userId="49a044883f185952" providerId="LiveId" clId="{3DF3007B-9C7A-4F8C-96B1-A9A15E037881}" dt="2023-01-15T18:12:05.647" v="1824" actId="1036"/>
          <ac:cxnSpMkLst>
            <pc:docMk/>
            <pc:sldMk cId="513409896" sldId="276"/>
            <ac:cxnSpMk id="23" creationId="{D616797E-0044-3804-BA5A-23B8EB309CA5}"/>
          </ac:cxnSpMkLst>
        </pc:cxnChg>
        <pc:cxnChg chg="mod">
          <ac:chgData name="Roberto Gallardo" userId="49a044883f185952" providerId="LiveId" clId="{3DF3007B-9C7A-4F8C-96B1-A9A15E037881}" dt="2023-01-15T18:12:09.254" v="1825" actId="14100"/>
          <ac:cxnSpMkLst>
            <pc:docMk/>
            <pc:sldMk cId="513409896" sldId="276"/>
            <ac:cxnSpMk id="24" creationId="{20A6256E-6780-BAE0-B803-D02FE024579F}"/>
          </ac:cxnSpMkLst>
        </pc:cxnChg>
        <pc:cxnChg chg="mod">
          <ac:chgData name="Roberto Gallardo" userId="49a044883f185952" providerId="LiveId" clId="{3DF3007B-9C7A-4F8C-96B1-A9A15E037881}" dt="2023-01-15T18:11:57.965" v="1814" actId="1035"/>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Sp mod">
        <pc:chgData name="Roberto Gallardo" userId="49a044883f185952" providerId="LiveId" clId="{3DF3007B-9C7A-4F8C-96B1-A9A15E037881}" dt="2023-01-15T18:12:50.348" v="1836" actId="20577"/>
        <pc:sldMkLst>
          <pc:docMk/>
          <pc:sldMk cId="349244952" sldId="278"/>
        </pc:sldMkLst>
        <pc:spChg chg="mod">
          <ac:chgData name="Roberto Gallardo" userId="49a044883f185952" providerId="LiveId" clId="{3DF3007B-9C7A-4F8C-96B1-A9A15E037881}" dt="2023-01-15T18:12:50.348" v="1836" actId="20577"/>
          <ac:spMkLst>
            <pc:docMk/>
            <pc:sldMk cId="349244952" sldId="278"/>
            <ac:spMk id="2" creationId="{C03B1400-5F72-D252-1DBE-EDCD6E63B07C}"/>
          </ac:spMkLst>
        </pc:spChg>
      </pc:sldChg>
      <pc:sldChg chg="addSp delSp modSp mod">
        <pc:chgData name="Roberto Gallardo" userId="49a044883f185952" providerId="LiveId" clId="{3DF3007B-9C7A-4F8C-96B1-A9A15E037881}" dt="2023-01-15T17:52:03.259" v="156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5T17:52:03.259" v="1568" actId="1076"/>
          <ac:picMkLst>
            <pc:docMk/>
            <pc:sldMk cId="2124848710" sldId="281"/>
            <ac:picMk id="5" creationId="{556F29F2-6997-7A0D-E7B2-05855ADA3C54}"/>
          </ac:picMkLst>
        </pc:picChg>
        <pc:picChg chg="add del mod">
          <ac:chgData name="Roberto Gallardo" userId="49a044883f185952" providerId="LiveId" clId="{3DF3007B-9C7A-4F8C-96B1-A9A15E037881}" dt="2023-01-15T17:51:42.697" v="1559" actId="478"/>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5T17:53:44.463" v="1586" actId="1076"/>
        <pc:sldMkLst>
          <pc:docMk/>
          <pc:sldMk cId="2028175529" sldId="282"/>
        </pc:sldMkLst>
        <pc:picChg chg="add del mod">
          <ac:chgData name="Roberto Gallardo" userId="49a044883f185952" providerId="LiveId" clId="{3DF3007B-9C7A-4F8C-96B1-A9A15E037881}" dt="2023-01-15T17:53:23.706" v="1578" actId="478"/>
          <ac:picMkLst>
            <pc:docMk/>
            <pc:sldMk cId="2028175529" sldId="282"/>
            <ac:picMk id="5" creationId="{260C7A0C-0951-FADF-30D5-25F9F86F74C3}"/>
          </ac:picMkLst>
        </pc:picChg>
        <pc:picChg chg="add mod">
          <ac:chgData name="Roberto Gallardo" userId="49a044883f185952" providerId="LiveId" clId="{3DF3007B-9C7A-4F8C-96B1-A9A15E037881}" dt="2023-01-15T17:53:44.463" v="1586" actId="1076"/>
          <ac:picMkLst>
            <pc:docMk/>
            <pc:sldMk cId="2028175529" sldId="282"/>
            <ac:picMk id="8" creationId="{41D36A96-EA9A-CCB2-E305-0B946C042E36}"/>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5T17:55:02.203" v="1603" actId="1076"/>
        <pc:sldMkLst>
          <pc:docMk/>
          <pc:sldMk cId="1326517747" sldId="283"/>
        </pc:sldMkLst>
        <pc:picChg chg="add del mod">
          <ac:chgData name="Roberto Gallardo" userId="49a044883f185952" providerId="LiveId" clId="{3DF3007B-9C7A-4F8C-96B1-A9A15E037881}" dt="2023-01-15T17:54:44.105" v="1596" actId="478"/>
          <ac:picMkLst>
            <pc:docMk/>
            <pc:sldMk cId="1326517747" sldId="283"/>
            <ac:picMk id="5" creationId="{D5820370-CCF1-A1EF-BE00-D7215C0A77FB}"/>
          </ac:picMkLst>
        </pc:picChg>
        <pc:picChg chg="add mod">
          <ac:chgData name="Roberto Gallardo" userId="49a044883f185952" providerId="LiveId" clId="{3DF3007B-9C7A-4F8C-96B1-A9A15E037881}" dt="2023-01-15T17:55:02.203" v="1603" actId="1076"/>
          <ac:picMkLst>
            <pc:docMk/>
            <pc:sldMk cId="1326517747" sldId="283"/>
            <ac:picMk id="8" creationId="{8EC4580D-8F08-40A8-A137-3545A4069AA9}"/>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5T17:56:44.607" v="1620" actId="1076"/>
        <pc:sldMkLst>
          <pc:docMk/>
          <pc:sldMk cId="783739251" sldId="284"/>
        </pc:sldMkLst>
        <pc:picChg chg="add del mod">
          <ac:chgData name="Roberto Gallardo" userId="49a044883f185952" providerId="LiveId" clId="{3DF3007B-9C7A-4F8C-96B1-A9A15E037881}" dt="2023-01-15T17:56:26.034" v="1613" actId="478"/>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picChg chg="add mod">
          <ac:chgData name="Roberto Gallardo" userId="49a044883f185952" providerId="LiveId" clId="{3DF3007B-9C7A-4F8C-96B1-A9A15E037881}" dt="2023-01-15T17:56:44.607" v="1620" actId="1076"/>
          <ac:picMkLst>
            <pc:docMk/>
            <pc:sldMk cId="783739251" sldId="284"/>
            <ac:picMk id="8" creationId="{AFF3357F-A78F-9022-EB5F-1692DE80E88B}"/>
          </ac:picMkLst>
        </pc:picChg>
      </pc:sldChg>
      <pc:sldChg chg="addSp delSp modSp mod">
        <pc:chgData name="Roberto Gallardo" userId="49a044883f185952" providerId="LiveId" clId="{3DF3007B-9C7A-4F8C-96B1-A9A15E037881}" dt="2023-01-15T17:58:12.427" v="1638" actId="1076"/>
        <pc:sldMkLst>
          <pc:docMk/>
          <pc:sldMk cId="1676122233" sldId="285"/>
        </pc:sldMkLst>
        <pc:picChg chg="add del mod">
          <ac:chgData name="Roberto Gallardo" userId="49a044883f185952" providerId="LiveId" clId="{3DF3007B-9C7A-4F8C-96B1-A9A15E037881}" dt="2023-01-15T17:57:01.414" v="1621" actId="478"/>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picChg chg="add mod">
          <ac:chgData name="Roberto Gallardo" userId="49a044883f185952" providerId="LiveId" clId="{3DF3007B-9C7A-4F8C-96B1-A9A15E037881}" dt="2023-01-15T17:58:12.427" v="1638" actId="1076"/>
          <ac:picMkLst>
            <pc:docMk/>
            <pc:sldMk cId="1676122233" sldId="285"/>
            <ac:picMk id="8" creationId="{BB4A4BAA-6F00-6508-3C3D-2A227BD886F7}"/>
          </ac:picMkLst>
        </pc:picChg>
      </pc:sldChg>
      <pc:sldChg chg="addSp delSp modSp mod">
        <pc:chgData name="Roberto Gallardo" userId="49a044883f185952" providerId="LiveId" clId="{3DF3007B-9C7A-4F8C-96B1-A9A15E037881}" dt="2023-01-15T17:59:19.107" v="1655" actId="1076"/>
        <pc:sldMkLst>
          <pc:docMk/>
          <pc:sldMk cId="3100398757" sldId="286"/>
        </pc:sldMkLst>
        <pc:picChg chg="add del mod">
          <ac:chgData name="Roberto Gallardo" userId="49a044883f185952" providerId="LiveId" clId="{3DF3007B-9C7A-4F8C-96B1-A9A15E037881}" dt="2023-01-15T17:58:17.784" v="1639" actId="478"/>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picChg chg="add mod">
          <ac:chgData name="Roberto Gallardo" userId="49a044883f185952" providerId="LiveId" clId="{3DF3007B-9C7A-4F8C-96B1-A9A15E037881}" dt="2023-01-15T17:59:19.107" v="1655" actId="1076"/>
          <ac:picMkLst>
            <pc:docMk/>
            <pc:sldMk cId="3100398757" sldId="286"/>
            <ac:picMk id="8" creationId="{FF8FB53C-6731-EAFB-623C-544513545D01}"/>
          </ac:picMkLst>
        </pc:picChg>
      </pc:sldChg>
      <pc:sldChg chg="addSp delSp modSp mod">
        <pc:chgData name="Roberto Gallardo" userId="49a044883f185952" providerId="LiveId" clId="{3DF3007B-9C7A-4F8C-96B1-A9A15E037881}" dt="2023-01-15T18:00:47.687" v="1678" actId="1076"/>
        <pc:sldMkLst>
          <pc:docMk/>
          <pc:sldMk cId="1546475425" sldId="287"/>
        </pc:sldMkLst>
        <pc:picChg chg="add del mod">
          <ac:chgData name="Roberto Gallardo" userId="49a044883f185952" providerId="LiveId" clId="{3DF3007B-9C7A-4F8C-96B1-A9A15E037881}" dt="2023-01-15T17:59:33.555" v="1656" actId="478"/>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picChg chg="add mod">
          <ac:chgData name="Roberto Gallardo" userId="49a044883f185952" providerId="LiveId" clId="{3DF3007B-9C7A-4F8C-96B1-A9A15E037881}" dt="2023-01-15T18:00:47.687" v="1678" actId="1076"/>
          <ac:picMkLst>
            <pc:docMk/>
            <pc:sldMk cId="1546475425" sldId="287"/>
            <ac:picMk id="8" creationId="{E8D36DA1-46A0-22DA-0864-CA5E6CEFD003}"/>
          </ac:picMkLst>
        </pc:picChg>
      </pc:sldChg>
      <pc:sldChg chg="addSp delSp modSp mod">
        <pc:chgData name="Roberto Gallardo" userId="49a044883f185952" providerId="LiveId" clId="{3DF3007B-9C7A-4F8C-96B1-A9A15E037881}" dt="2023-01-15T18:03:27.904" v="1713" actId="1076"/>
        <pc:sldMkLst>
          <pc:docMk/>
          <pc:sldMk cId="1380517306" sldId="288"/>
        </pc:sldMkLst>
        <pc:picChg chg="add del mod">
          <ac:chgData name="Roberto Gallardo" userId="49a044883f185952" providerId="LiveId" clId="{3DF3007B-9C7A-4F8C-96B1-A9A15E037881}" dt="2023-01-15T17:59:38.176" v="1658" actId="478"/>
          <ac:picMkLst>
            <pc:docMk/>
            <pc:sldMk cId="1380517306" sldId="288"/>
            <ac:picMk id="5" creationId="{B56955DC-09E5-145F-D5EA-7A4828711AD9}"/>
          </ac:picMkLst>
        </pc:picChg>
        <pc:picChg chg="add mod">
          <ac:chgData name="Roberto Gallardo" userId="49a044883f185952" providerId="LiveId" clId="{3DF3007B-9C7A-4F8C-96B1-A9A15E037881}" dt="2023-01-15T18:03:27.904" v="1713" actId="1076"/>
          <ac:picMkLst>
            <pc:docMk/>
            <pc:sldMk cId="1380517306" sldId="288"/>
            <ac:picMk id="8" creationId="{559BF8BB-95F2-9A33-FBEF-6778F2E96135}"/>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5T18:04:40.676" v="1730" actId="1076"/>
        <pc:sldMkLst>
          <pc:docMk/>
          <pc:sldMk cId="1388671151" sldId="289"/>
        </pc:sldMkLst>
        <pc:picChg chg="add del mod">
          <ac:chgData name="Roberto Gallardo" userId="49a044883f185952" providerId="LiveId" clId="{3DF3007B-9C7A-4F8C-96B1-A9A15E037881}" dt="2023-01-15T17:59:39.936" v="1659" actId="478"/>
          <ac:picMkLst>
            <pc:docMk/>
            <pc:sldMk cId="1388671151" sldId="289"/>
            <ac:picMk id="5" creationId="{D914859F-2C47-69E5-C8E5-153B565AD678}"/>
          </ac:picMkLst>
        </pc:picChg>
        <pc:picChg chg="add mod">
          <ac:chgData name="Roberto Gallardo" userId="49a044883f185952" providerId="LiveId" clId="{3DF3007B-9C7A-4F8C-96B1-A9A15E037881}" dt="2023-01-15T18:04:40.676" v="1730" actId="1076"/>
          <ac:picMkLst>
            <pc:docMk/>
            <pc:sldMk cId="1388671151" sldId="289"/>
            <ac:picMk id="8" creationId="{AD99A92E-6799-7050-B127-B74EC0B4E77B}"/>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8:08:22.963" v="1764" actId="1076"/>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add mod">
          <ac:chgData name="Roberto Gallardo" userId="49a044883f185952" providerId="LiveId" clId="{3DF3007B-9C7A-4F8C-96B1-A9A15E037881}" dt="2023-01-15T18:08:22.963" v="1764" actId="1076"/>
          <ac:picMkLst>
            <pc:docMk/>
            <pc:sldMk cId="2355376039" sldId="290"/>
            <ac:picMk id="8" creationId="{5F4A4034-085C-189C-4191-CA7E16CDF515}"/>
          </ac:picMkLst>
        </pc:pic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del mod">
          <ac:chgData name="Roberto Gallardo" userId="49a044883f185952" providerId="LiveId" clId="{3DF3007B-9C7A-4F8C-96B1-A9A15E037881}" dt="2023-01-15T17:59:43.310" v="1661" actId="478"/>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31T22:34:35.696" v="1898" actId="27918"/>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del mod">
          <ac:chgData name="Roberto Gallardo" userId="49a044883f185952" providerId="LiveId" clId="{3DF3007B-9C7A-4F8C-96B1-A9A15E037881}" dt="2023-01-15T17:59:44.959" v="1662" actId="478"/>
          <ac:picMkLst>
            <pc:docMk/>
            <pc:sldMk cId="3757257295" sldId="291"/>
            <ac:picMk id="7" creationId="{A8C2B9C6-FE6E-6FFB-23EF-BFF18FD3ADBC}"/>
          </ac:picMkLst>
        </pc:picChg>
        <pc:picChg chg="add mod">
          <ac:chgData name="Roberto Gallardo" userId="49a044883f185952" providerId="LiveId" clId="{3DF3007B-9C7A-4F8C-96B1-A9A15E037881}" dt="2023-01-15T18:09:46.518" v="1781" actId="1076"/>
          <ac:picMkLst>
            <pc:docMk/>
            <pc:sldMk cId="3757257295" sldId="291"/>
            <ac:picMk id="8" creationId="{07C42A41-36FA-8106-B54C-5AF528054D44}"/>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5T18:02:21.828" v="1696" actId="1076"/>
        <pc:sldMkLst>
          <pc:docMk/>
          <pc:sldMk cId="1259856727" sldId="292"/>
        </pc:sldMkLst>
        <pc:picChg chg="add del mod">
          <ac:chgData name="Roberto Gallardo" userId="49a044883f185952" providerId="LiveId" clId="{3DF3007B-9C7A-4F8C-96B1-A9A15E037881}" dt="2023-01-15T17:59:36.244" v="1657" actId="478"/>
          <ac:picMkLst>
            <pc:docMk/>
            <pc:sldMk cId="1259856727" sldId="292"/>
            <ac:picMk id="5" creationId="{B48EF86A-52C3-AB58-168F-16F2880765DB}"/>
          </ac:picMkLst>
        </pc:picChg>
        <pc:picChg chg="add mod">
          <ac:chgData name="Roberto Gallardo" userId="49a044883f185952" providerId="LiveId" clId="{3DF3007B-9C7A-4F8C-96B1-A9A15E037881}" dt="2023-01-15T18:02:21.828" v="1696" actId="1076"/>
          <ac:picMkLst>
            <pc:docMk/>
            <pc:sldMk cId="1259856727" sldId="292"/>
            <ac:picMk id="8" creationId="{71DE8C41-2B1A-D2CC-5F7C-88BDADC1AA33}"/>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8T00:31:07.247" v="1880"/>
        <pc:sldMkLst>
          <pc:docMk/>
          <pc:sldMk cId="3324519687" sldId="293"/>
        </pc:sldMkLst>
        <pc:spChg chg="del">
          <ac:chgData name="Roberto Gallardo" userId="49a044883f185952" providerId="LiveId" clId="{3DF3007B-9C7A-4F8C-96B1-A9A15E037881}" dt="2023-01-18T00:31:06.941" v="1879" actId="478"/>
          <ac:spMkLst>
            <pc:docMk/>
            <pc:sldMk cId="3324519687" sldId="293"/>
            <ac:spMk id="3" creationId="{AF651823-818E-912D-E331-CDEB914505A8}"/>
          </ac:spMkLst>
        </pc:spChg>
        <pc:spChg chg="add mod">
          <ac:chgData name="Roberto Gallardo" userId="49a044883f185952" providerId="LiveId" clId="{3DF3007B-9C7A-4F8C-96B1-A9A15E037881}" dt="2023-01-18T00:31:07.247" v="1880"/>
          <ac:spMkLst>
            <pc:docMk/>
            <pc:sldMk cId="3324519687" sldId="293"/>
            <ac:spMk id="5" creationId="{9F29C97E-9C24-E0EA-035F-078B45DC2507}"/>
          </ac:spMkLst>
        </pc:spChg>
        <pc:picChg chg="add del mod">
          <ac:chgData name="Roberto Gallardo" userId="49a044883f185952" providerId="LiveId" clId="{3DF3007B-9C7A-4F8C-96B1-A9A15E037881}" dt="2023-01-15T17:49:15.520" v="1540" actId="478"/>
          <ac:picMkLst>
            <pc:docMk/>
            <pc:sldMk cId="3324519687" sldId="293"/>
            <ac:picMk id="7" creationId="{A60F00B6-02AC-6AA9-3D46-B7D23CB693CF}"/>
          </ac:picMkLst>
        </pc:picChg>
        <pc:picChg chg="add mod">
          <ac:chgData name="Roberto Gallardo" userId="49a044883f185952" providerId="LiveId" clId="{3DF3007B-9C7A-4F8C-96B1-A9A15E037881}" dt="2023-01-15T17:49:37.683" v="1547" actId="1076"/>
          <ac:picMkLst>
            <pc:docMk/>
            <pc:sldMk cId="3324519687" sldId="293"/>
            <ac:picMk id="8" creationId="{957EE50D-AE79-EDE3-3BB4-E2DC7C8A4C39}"/>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5T17:48:24.533" v="1530" actId="27918"/>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5T17:45:18.890" v="1505" actId="1076"/>
          <ac:picMkLst>
            <pc:docMk/>
            <pc:sldMk cId="3256182630" sldId="295"/>
            <ac:picMk id="6" creationId="{2A659626-F4CD-AFCD-0028-27FFEAEA821A}"/>
          </ac:picMkLst>
        </pc:picChg>
        <pc:picChg chg="add del mod">
          <ac:chgData name="Roberto Gallardo" userId="49a044883f185952" providerId="LiveId" clId="{3DF3007B-9C7A-4F8C-96B1-A9A15E037881}" dt="2023-01-15T17:44:59.707" v="1497" actId="478"/>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5T17:47:18.238" v="1528" actId="1076"/>
        <pc:sldMkLst>
          <pc:docMk/>
          <pc:sldMk cId="4057156843" sldId="296"/>
        </pc:sldMkLst>
        <pc:graphicFrameChg chg="add del mod">
          <ac:chgData name="Roberto Gallardo" userId="49a044883f185952" providerId="LiveId" clId="{3DF3007B-9C7A-4F8C-96B1-A9A15E037881}" dt="2023-01-15T17:46:02.535" v="1508"/>
          <ac:graphicFrameMkLst>
            <pc:docMk/>
            <pc:sldMk cId="4057156843" sldId="296"/>
            <ac:graphicFrameMk id="5" creationId="{10A80171-D705-01FE-0085-8A8684E550E6}"/>
          </ac:graphicFrameMkLst>
        </pc:graphicFrameChg>
        <pc:graphicFrameChg chg="add del mod">
          <ac:chgData name="Roberto Gallardo" userId="49a044883f185952" providerId="LiveId" clId="{3DF3007B-9C7A-4F8C-96B1-A9A15E037881}" dt="2023-01-15T17:46:03.200" v="1509" actId="478"/>
          <ac:graphicFrameMkLst>
            <pc:docMk/>
            <pc:sldMk cId="4057156843" sldId="296"/>
            <ac:graphicFrameMk id="8" creationId="{D3B2E8D2-9CCD-964A-5CD5-9F743C3CE109}"/>
          </ac:graphicFrameMkLst>
        </pc:graphicFrameChg>
        <pc:picChg chg="add del mod">
          <ac:chgData name="Roberto Gallardo" userId="49a044883f185952" providerId="LiveId" clId="{3DF3007B-9C7A-4F8C-96B1-A9A15E037881}" dt="2023-01-15T17:46:56.580" v="1520" actId="478"/>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picChg chg="add mod">
          <ac:chgData name="Roberto Gallardo" userId="49a044883f185952" providerId="LiveId" clId="{3DF3007B-9C7A-4F8C-96B1-A9A15E037881}" dt="2023-01-15T17:47:18.238" v="1528" actId="1076"/>
          <ac:picMkLst>
            <pc:docMk/>
            <pc:sldMk cId="4057156843" sldId="296"/>
            <ac:picMk id="9" creationId="{83FEB5D9-D3E1-1718-9BA0-1E4E42CB2EAF}"/>
          </ac:picMkLst>
        </pc:picChg>
      </pc:sldChg>
      <pc:sldChg chg="addSp delSp modSp mod">
        <pc:chgData name="Roberto Gallardo" userId="49a044883f185952" providerId="LiveId" clId="{3DF3007B-9C7A-4F8C-96B1-A9A15E037881}" dt="2023-01-15T17:42:16.683" v="1485" actId="1076"/>
        <pc:sldMkLst>
          <pc:docMk/>
          <pc:sldMk cId="2080110827" sldId="297"/>
        </pc:sldMkLst>
        <pc:picChg chg="add del mod">
          <ac:chgData name="Roberto Gallardo" userId="49a044883f185952" providerId="LiveId" clId="{3DF3007B-9C7A-4F8C-96B1-A9A15E037881}" dt="2023-01-15T17:41:59.501" v="1478" actId="478"/>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picChg chg="add mod">
          <ac:chgData name="Roberto Gallardo" userId="49a044883f185952" providerId="LiveId" clId="{3DF3007B-9C7A-4F8C-96B1-A9A15E037881}" dt="2023-01-15T17:42:16.683" v="1485" actId="1076"/>
          <ac:picMkLst>
            <pc:docMk/>
            <pc:sldMk cId="2080110827" sldId="297"/>
            <ac:picMk id="7" creationId="{863FFA18-1A6E-FB1C-F203-A44B4B4AC4A9}"/>
          </ac:picMkLst>
        </pc:picChg>
      </pc:sldChg>
      <pc:sldChg chg="addSp delSp modSp mod">
        <pc:chgData name="Roberto Gallardo" userId="49a044883f185952" providerId="LiveId" clId="{3DF3007B-9C7A-4F8C-96B1-A9A15E037881}" dt="2023-01-15T17:41:49.226" v="1477" actId="1076"/>
        <pc:sldMkLst>
          <pc:docMk/>
          <pc:sldMk cId="1532666867" sldId="298"/>
        </pc:sldMkLst>
        <pc:picChg chg="add mod">
          <ac:chgData name="Roberto Gallardo" userId="49a044883f185952" providerId="LiveId" clId="{3DF3007B-9C7A-4F8C-96B1-A9A15E037881}" dt="2023-01-15T17:41:49.226" v="1477" actId="1076"/>
          <ac:picMkLst>
            <pc:docMk/>
            <pc:sldMk cId="1532666867" sldId="298"/>
            <ac:picMk id="6" creationId="{EF0D8426-CFCD-854A-A97D-207F512F8982}"/>
          </ac:picMkLst>
        </pc:picChg>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del mod">
          <ac:chgData name="Roberto Gallardo" userId="49a044883f185952" providerId="LiveId" clId="{3DF3007B-9C7A-4F8C-96B1-A9A15E037881}" dt="2023-01-15T17:41:28.085" v="1470" actId="478"/>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8:06:01.471" v="1747" actId="1076"/>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add mod">
          <ac:chgData name="Roberto Gallardo" userId="49a044883f185952" providerId="LiveId" clId="{3DF3007B-9C7A-4F8C-96B1-A9A15E037881}" dt="2023-01-15T18:06:01.471" v="1747" actId="1076"/>
          <ac:picMkLst>
            <pc:docMk/>
            <pc:sldMk cId="1951376777" sldId="299"/>
            <ac:picMk id="5" creationId="{3AF20E66-AA6C-0EBE-7285-94038E971285}"/>
          </ac:picMkLst>
        </pc:pic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del mod">
          <ac:chgData name="Roberto Gallardo" userId="49a044883f185952" providerId="LiveId" clId="{3DF3007B-9C7A-4F8C-96B1-A9A15E037881}" dt="2023-01-15T17:59:41.911" v="1660" actId="478"/>
          <ac:picMkLst>
            <pc:docMk/>
            <pc:sldMk cId="1951376777" sldId="299"/>
            <ac:picMk id="8" creationId="{E81B59CA-9234-ED7C-9930-EBA794BB9820}"/>
          </ac:picMkLst>
        </pc:picChg>
      </pc:sldChg>
      <pc:sldChg chg="add del">
        <pc:chgData name="Roberto Gallardo" userId="49a044883f185952" providerId="LiveId" clId="{3DF3007B-9C7A-4F8C-96B1-A9A15E037881}" dt="2023-01-17T23:27:18.686" v="1853" actId="47"/>
        <pc:sldMkLst>
          <pc:docMk/>
          <pc:sldMk cId="230398305" sldId="301"/>
        </pc:sldMkLst>
      </pc:sldChg>
      <pc:sldChg chg="add">
        <pc:chgData name="Roberto Gallardo" userId="49a044883f185952" providerId="LiveId" clId="{3DF3007B-9C7A-4F8C-96B1-A9A15E037881}" dt="2023-01-17T23:27:16.863" v="1852"/>
        <pc:sldMkLst>
          <pc:docMk/>
          <pc:sldMk cId="1515423683" sldId="302"/>
        </pc:sldMkLst>
      </pc:sldChg>
      <pc:sldChg chg="add mod">
        <pc:chgData name="Roberto Gallardo" userId="49a044883f185952" providerId="LiveId" clId="{3DF3007B-9C7A-4F8C-96B1-A9A15E037881}" dt="2023-01-17T23:28:25.360" v="1864" actId="27918"/>
        <pc:sldMkLst>
          <pc:docMk/>
          <pc:sldMk cId="2841628872" sldId="303"/>
        </pc:sldMkLst>
      </pc:sldChg>
      <pc:sldChg chg="add mod">
        <pc:chgData name="Roberto Gallardo" userId="49a044883f185952" providerId="LiveId" clId="{3DF3007B-9C7A-4F8C-96B1-A9A15E037881}" dt="2023-01-17T23:28:51.583" v="1871" actId="27918"/>
        <pc:sldMkLst>
          <pc:docMk/>
          <pc:sldMk cId="3084076302" sldId="304"/>
        </pc:sldMkLst>
      </pc:sldChg>
      <pc:sldChg chg="add mod">
        <pc:chgData name="Roberto Gallardo" userId="49a044883f185952" providerId="LiveId" clId="{3DF3007B-9C7A-4F8C-96B1-A9A15E037881}" dt="2023-01-17T23:29:31.233" v="1878" actId="27918"/>
        <pc:sldMkLst>
          <pc:docMk/>
          <pc:sldMk cId="473712435" sldId="305"/>
        </pc:sldMkLst>
      </pc:sldChg>
      <pc:sldChg chg="add del">
        <pc:chgData name="Roberto Gallardo" userId="49a044883f185952" providerId="LiveId" clId="{3DF3007B-9C7A-4F8C-96B1-A9A15E037881}" dt="2023-01-17T23:27:40.412" v="1856"/>
        <pc:sldMkLst>
          <pc:docMk/>
          <pc:sldMk cId="780765059" sldId="305"/>
        </pc:sldMkLst>
      </pc:sldChg>
      <pc:sldChg chg="add del">
        <pc:chgData name="Roberto Gallardo" userId="49a044883f185952" providerId="LiveId" clId="{3DF3007B-9C7A-4F8C-96B1-A9A15E037881}" dt="2023-01-17T23:27:40.412" v="1856"/>
        <pc:sldMkLst>
          <pc:docMk/>
          <pc:sldMk cId="559424872" sldId="306"/>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High Country</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formatCode="#,##0.00;[Red]#,##0.00">
                  <c:v>1</c:v>
                </c:pt>
                <c:pt idx="1">
                  <c:v>1.0113268889235985</c:v>
                </c:pt>
                <c:pt idx="2">
                  <c:v>1.0228446804695048</c:v>
                </c:pt>
                <c:pt idx="3">
                  <c:v>1.0325922840631019</c:v>
                </c:pt>
                <c:pt idx="4">
                  <c:v>1.0465050357797794</c:v>
                </c:pt>
                <c:pt idx="5">
                  <c:v>1.0599202836928665</c:v>
                </c:pt>
                <c:pt idx="6">
                  <c:v>1.074914816935955</c:v>
                </c:pt>
                <c:pt idx="7">
                  <c:v>1.0859235348223737</c:v>
                </c:pt>
                <c:pt idx="8">
                  <c:v>1.0954339563700735</c:v>
                </c:pt>
                <c:pt idx="9">
                  <c:v>1.113031707190087</c:v>
                </c:pt>
                <c:pt idx="10">
                  <c:v>1.12469990686266</c:v>
                </c:pt>
                <c:pt idx="11">
                  <c:v>1.1349912936834372</c:v>
                </c:pt>
                <c:pt idx="12">
                  <c:v>1.138745711922158</c:v>
                </c:pt>
                <c:pt idx="13">
                  <c:v>1.1399663317193385</c:v>
                </c:pt>
                <c:pt idx="14">
                  <c:v>1.1400241809988256</c:v>
                </c:pt>
                <c:pt idx="15">
                  <c:v>1.1422976576826736</c:v>
                </c:pt>
                <c:pt idx="16">
                  <c:v>1.1489618946796019</c:v>
                </c:pt>
                <c:pt idx="17">
                  <c:v>1.1554294441262734</c:v>
                </c:pt>
                <c:pt idx="18">
                  <c:v>1.1631233982980742</c:v>
                </c:pt>
                <c:pt idx="19">
                  <c:v>1.1598144195114051</c:v>
                </c:pt>
                <c:pt idx="20">
                  <c:v>1.2131977346222154</c:v>
                </c:pt>
                <c:pt idx="21">
                  <c:v>1.2113176330388804</c:v>
                </c:pt>
                <c:pt idx="22">
                  <c:v>1.2113639124624702</c:v>
                </c:pt>
                <c:pt idx="23">
                  <c:v>1.2098135517722126</c:v>
                </c:pt>
                <c:pt idx="24">
                  <c:v>1.2080665035316984</c:v>
                </c:pt>
                <c:pt idx="25">
                  <c:v>1.2089458125799044</c:v>
                </c:pt>
                <c:pt idx="26">
                  <c:v>1.2165009284809358</c:v>
                </c:pt>
                <c:pt idx="27">
                  <c:v>1.2243857852750444</c:v>
                </c:pt>
                <c:pt idx="28">
                  <c:v>1.2335259714340259</c:v>
                </c:pt>
                <c:pt idx="29">
                  <c:v>1.2351920306832578</c:v>
                </c:pt>
                <c:pt idx="30">
                  <c:v>1.2065334976252871</c:v>
                </c:pt>
                <c:pt idx="31">
                  <c:v>1.2112713536152908</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9.8375744450460214</c:v>
                </c:pt>
                <c:pt idx="1">
                  <c:v>28.351195258378937</c:v>
                </c:pt>
                <c:pt idx="2">
                  <c:v>45.680952557038793</c:v>
                </c:pt>
                <c:pt idx="3">
                  <c:v>14.178353351674158</c:v>
                </c:pt>
                <c:pt idx="4">
                  <c:v>15.831742109401326</c:v>
                </c:pt>
                <c:pt idx="5">
                  <c:v>20.182864883169657</c:v>
                </c:pt>
                <c:pt idx="6">
                  <c:v>19.636296840558412</c:v>
                </c:pt>
                <c:pt idx="7">
                  <c:v>27.6</c:v>
                </c:pt>
                <c:pt idx="8">
                  <c:v>50.9</c:v>
                </c:pt>
                <c:pt idx="9">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1.2127774769897131</c:v>
                </c:pt>
                <c:pt idx="1">
                  <c:v>6.1195409965286727</c:v>
                </c:pt>
                <c:pt idx="2">
                  <c:v>2.9933809118810784</c:v>
                </c:pt>
                <c:pt idx="3">
                  <c:v>2.4961417164329331</c:v>
                </c:pt>
                <c:pt idx="4">
                  <c:v>0.85926092328428627</c:v>
                </c:pt>
                <c:pt idx="5">
                  <c:v>16.484178048688715</c:v>
                </c:pt>
                <c:pt idx="6">
                  <c:v>17.505510653930934</c:v>
                </c:pt>
                <c:pt idx="7">
                  <c:v>6.1</c:v>
                </c:pt>
                <c:pt idx="8">
                  <c:v>18</c:v>
                </c:pt>
                <c:pt idx="9">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91.813752030319435</c:v>
                </c:pt>
                <c:pt idx="1">
                  <c:v>86.790364879409395</c:v>
                </c:pt>
                <c:pt idx="2">
                  <c:v>65.473812694185526</c:v>
                </c:pt>
                <c:pt idx="3">
                  <c:v>86.727504529289405</c:v>
                </c:pt>
                <c:pt idx="4">
                  <c:v>83.005728406155228</c:v>
                </c:pt>
                <c:pt idx="5">
                  <c:v>90.303646009707634</c:v>
                </c:pt>
                <c:pt idx="6">
                  <c:v>89.150206706476794</c:v>
                </c:pt>
                <c:pt idx="7">
                  <c:v>82</c:v>
                </c:pt>
                <c:pt idx="8">
                  <c:v>40.700000000000003</c:v>
                </c:pt>
                <c:pt idx="9">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17.737506864360242</c:v>
                </c:pt>
                <c:pt idx="1">
                  <c:v>19.723056745916764</c:v>
                </c:pt>
                <c:pt idx="2">
                  <c:v>11.514093012021331</c:v>
                </c:pt>
                <c:pt idx="3">
                  <c:v>18.905840446266549</c:v>
                </c:pt>
                <c:pt idx="4">
                  <c:v>19.23850295128754</c:v>
                </c:pt>
                <c:pt idx="5">
                  <c:v>17.4061433447099</c:v>
                </c:pt>
                <c:pt idx="6">
                  <c:v>19.323224852071004</c:v>
                </c:pt>
                <c:pt idx="7">
                  <c:v>17</c:v>
                </c:pt>
                <c:pt idx="8">
                  <c:v>13.2</c:v>
                </c:pt>
                <c:pt idx="9">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5.7286432160804024</c:v>
                </c:pt>
                <c:pt idx="1">
                  <c:v>7.5567276314790917</c:v>
                </c:pt>
                <c:pt idx="2">
                  <c:v>5.8360391332951336</c:v>
                </c:pt>
                <c:pt idx="3">
                  <c:v>7.8474784747847481</c:v>
                </c:pt>
                <c:pt idx="4">
                  <c:v>5.9017474447741511</c:v>
                </c:pt>
                <c:pt idx="5">
                  <c:v>7.8085871693302371</c:v>
                </c:pt>
                <c:pt idx="6">
                  <c:v>8.1472474021667036</c:v>
                </c:pt>
                <c:pt idx="7">
                  <c:v>6.9</c:v>
                </c:pt>
                <c:pt idx="8">
                  <c:v>8</c:v>
                </c:pt>
                <c:pt idx="9">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7.7354687585117432</c:v>
                </c:pt>
                <c:pt idx="1">
                  <c:v>13.278058340242708</c:v>
                </c:pt>
                <c:pt idx="2">
                  <c:v>8.6395325184459182</c:v>
                </c:pt>
                <c:pt idx="3">
                  <c:v>8.514480636746697</c:v>
                </c:pt>
                <c:pt idx="4">
                  <c:v>12.469713190961855</c:v>
                </c:pt>
                <c:pt idx="5">
                  <c:v>7.9479660124821407</c:v>
                </c:pt>
                <c:pt idx="6">
                  <c:v>13.721356553620538</c:v>
                </c:pt>
                <c:pt idx="7">
                  <c:v>10.5</c:v>
                </c:pt>
                <c:pt idx="8">
                  <c:v>37.9</c:v>
                </c:pt>
                <c:pt idx="9">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14.739614772540197</c:v>
                </c:pt>
                <c:pt idx="1">
                  <c:v>17.319223985890652</c:v>
                </c:pt>
                <c:pt idx="2">
                  <c:v>23.154827108695201</c:v>
                </c:pt>
                <c:pt idx="3">
                  <c:v>12.96855691335988</c:v>
                </c:pt>
                <c:pt idx="4">
                  <c:v>13.294639808808467</c:v>
                </c:pt>
                <c:pt idx="5">
                  <c:v>13.955872859150114</c:v>
                </c:pt>
                <c:pt idx="6">
                  <c:v>21.458949704142011</c:v>
                </c:pt>
                <c:pt idx="7">
                  <c:v>17.7</c:v>
                </c:pt>
                <c:pt idx="8">
                  <c:v>13.7</c:v>
                </c:pt>
                <c:pt idx="9">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54.817537411394071</c:v>
                </c:pt>
                <c:pt idx="1">
                  <c:v>46.576196589033557</c:v>
                </c:pt>
                <c:pt idx="2">
                  <c:v>39.226147560682527</c:v>
                </c:pt>
                <c:pt idx="3">
                  <c:v>54.473438956197576</c:v>
                </c:pt>
                <c:pt idx="4">
                  <c:v>55.095641266854813</c:v>
                </c:pt>
                <c:pt idx="5">
                  <c:v>51.957690011089305</c:v>
                </c:pt>
                <c:pt idx="6">
                  <c:v>52.8290025146689</c:v>
                </c:pt>
                <c:pt idx="7">
                  <c:v>47.8</c:v>
                </c:pt>
                <c:pt idx="8">
                  <c:v>39.700000000000003</c:v>
                </c:pt>
                <c:pt idx="9">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22.508611184037804</c:v>
                </c:pt>
                <c:pt idx="1">
                  <c:v>27.711769668072627</c:v>
                </c:pt>
                <c:pt idx="2">
                  <c:v>17.69512136505648</c:v>
                </c:pt>
                <c:pt idx="3">
                  <c:v>22.981329605467536</c:v>
                </c:pt>
                <c:pt idx="4">
                  <c:v>22.739824396362497</c:v>
                </c:pt>
                <c:pt idx="5">
                  <c:v>22.25264863942677</c:v>
                </c:pt>
                <c:pt idx="6">
                  <c:v>22.150020955574185</c:v>
                </c:pt>
                <c:pt idx="7">
                  <c:v>23</c:v>
                </c:pt>
                <c:pt idx="8">
                  <c:v>30</c:v>
                </c:pt>
                <c:pt idx="9">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5.6707797322131794</c:v>
                </c:pt>
                <c:pt idx="1">
                  <c:v>6.2057582981844854</c:v>
                </c:pt>
                <c:pt idx="2">
                  <c:v>7.4116798846431147</c:v>
                </c:pt>
                <c:pt idx="3">
                  <c:v>5.7626592109350732</c:v>
                </c:pt>
                <c:pt idx="4">
                  <c:v>4.8918156161806214</c:v>
                </c:pt>
                <c:pt idx="5">
                  <c:v>4.085984816173335</c:v>
                </c:pt>
                <c:pt idx="6">
                  <c:v>6.2657166806370501</c:v>
                </c:pt>
                <c:pt idx="7">
                  <c:v>6</c:v>
                </c:pt>
                <c:pt idx="8">
                  <c:v>12</c:v>
                </c:pt>
                <c:pt idx="9">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B$2:$B$4</c:f>
              <c:numCache>
                <c:formatCode>#,##0.0</c:formatCode>
                <c:ptCount val="3"/>
                <c:pt idx="0">
                  <c:v>89.473860509630342</c:v>
                </c:pt>
                <c:pt idx="1">
                  <c:v>62.061419373856829</c:v>
                </c:pt>
                <c:pt idx="2">
                  <c:v>59.446533948645595</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C$2:$C$4</c:f>
              <c:numCache>
                <c:formatCode>#,##0.0</c:formatCode>
                <c:ptCount val="3"/>
                <c:pt idx="0">
                  <c:v>2.3146309367149178</c:v>
                </c:pt>
                <c:pt idx="1">
                  <c:v>20.840642568328686</c:v>
                </c:pt>
                <c:pt idx="2">
                  <c:v>12.190838839052297</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D$2:$D$4</c:f>
              <c:numCache>
                <c:formatCode>#,##0.0</c:formatCode>
                <c:ptCount val="3"/>
                <c:pt idx="0">
                  <c:v>0.67615743509989235</c:v>
                </c:pt>
                <c:pt idx="1">
                  <c:v>3.0106138484127842</c:v>
                </c:pt>
                <c:pt idx="2">
                  <c:v>5.6273166828741399</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E$2:$E$4</c:f>
              <c:numCache>
                <c:formatCode>#,##0.0</c:formatCode>
                <c:ptCount val="3"/>
                <c:pt idx="0">
                  <c:v>5.6915899030984569</c:v>
                </c:pt>
                <c:pt idx="1">
                  <c:v>9.8073487256031662</c:v>
                </c:pt>
                <c:pt idx="2">
                  <c:v>18.441695441790866</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F$2:$F$4</c:f>
              <c:numCache>
                <c:formatCode>#,##0.0</c:formatCode>
                <c:ptCount val="3"/>
                <c:pt idx="0">
                  <c:v>1.8437612154563823</c:v>
                </c:pt>
                <c:pt idx="1">
                  <c:v>4.2799754837985375</c:v>
                </c:pt>
                <c:pt idx="2">
                  <c:v>4.2936150876370931</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2.7945742768426216</c:v>
                </c:pt>
                <c:pt idx="1">
                  <c:v>3.4521745684781786</c:v>
                </c:pt>
                <c:pt idx="2">
                  <c:v>3.1861974591785787</c:v>
                </c:pt>
                <c:pt idx="3">
                  <c:v>3.8258310480904285</c:v>
                </c:pt>
                <c:pt idx="4">
                  <c:v>3.0878458330985517</c:v>
                </c:pt>
                <c:pt idx="5">
                  <c:v>3.2746823069403712</c:v>
                </c:pt>
                <c:pt idx="6">
                  <c:v>4.8762603116406966</c:v>
                </c:pt>
                <c:pt idx="7">
                  <c:v>3.4</c:v>
                </c:pt>
                <c:pt idx="8">
                  <c:v>8.1999999999999993</c:v>
                </c:pt>
                <c:pt idx="9">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4.7969393761035901</c:v>
                </c:pt>
                <c:pt idx="1">
                  <c:v>4.6342907906425816</c:v>
                </c:pt>
                <c:pt idx="2">
                  <c:v>2.8823870220162222</c:v>
                </c:pt>
                <c:pt idx="3">
                  <c:v>4.6806966618287369</c:v>
                </c:pt>
                <c:pt idx="4">
                  <c:v>6.4788732394366191</c:v>
                </c:pt>
                <c:pt idx="5">
                  <c:v>11.783783783783784</c:v>
                </c:pt>
                <c:pt idx="6">
                  <c:v>10.783261802575108</c:v>
                </c:pt>
                <c:pt idx="7">
                  <c:v>5.7</c:v>
                </c:pt>
                <c:pt idx="8">
                  <c:v>5.7</c:v>
                </c:pt>
                <c:pt idx="9">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24.045231491359079</c:v>
                </c:pt>
                <c:pt idx="1">
                  <c:v>21.601197690168959</c:v>
                </c:pt>
                <c:pt idx="2">
                  <c:v>17.226548878298267</c:v>
                </c:pt>
                <c:pt idx="3">
                  <c:v>29.8834628190899</c:v>
                </c:pt>
                <c:pt idx="4">
                  <c:v>15.632490013315579</c:v>
                </c:pt>
                <c:pt idx="5">
                  <c:v>25.72968118545128</c:v>
                </c:pt>
                <c:pt idx="6">
                  <c:v>20.292318150917744</c:v>
                </c:pt>
                <c:pt idx="7">
                  <c:v>21.7</c:v>
                </c:pt>
                <c:pt idx="8">
                  <c:v>15.9</c:v>
                </c:pt>
                <c:pt idx="9">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7.6497535228800473</c:v>
                </c:pt>
                <c:pt idx="1">
                  <c:v>5.1442157922706206</c:v>
                </c:pt>
                <c:pt idx="2">
                  <c:v>8.1443670349222117</c:v>
                </c:pt>
                <c:pt idx="3">
                  <c:v>6.5839902971497875</c:v>
                </c:pt>
                <c:pt idx="4">
                  <c:v>2.6188500296384114</c:v>
                </c:pt>
                <c:pt idx="5">
                  <c:v>4.2533337402425531</c:v>
                </c:pt>
                <c:pt idx="6">
                  <c:v>6.6608695652173902</c:v>
                </c:pt>
                <c:pt idx="7">
                  <c:v>5.4</c:v>
                </c:pt>
                <c:pt idx="8">
                  <c:v>6.8</c:v>
                </c:pt>
                <c:pt idx="9">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11.013389341034392</c:v>
                </c:pt>
                <c:pt idx="1">
                  <c:v>15.932514212360168</c:v>
                </c:pt>
                <c:pt idx="2">
                  <c:v>0</c:v>
                </c:pt>
                <c:pt idx="3">
                  <c:v>58.465361913637778</c:v>
                </c:pt>
                <c:pt idx="4">
                  <c:v>25.697710881153967</c:v>
                </c:pt>
                <c:pt idx="5">
                  <c:v>26.341380192783415</c:v>
                </c:pt>
                <c:pt idx="6">
                  <c:v>34.639564124056996</c:v>
                </c:pt>
                <c:pt idx="7">
                  <c:v>18</c:v>
                </c:pt>
                <c:pt idx="8">
                  <c:v>20.7</c:v>
                </c:pt>
                <c:pt idx="9">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Yancey</c:v>
                </c:pt>
                <c:pt idx="1">
                  <c:v>Wilkes</c:v>
                </c:pt>
                <c:pt idx="2">
                  <c:v>Watauga</c:v>
                </c:pt>
                <c:pt idx="3">
                  <c:v>Mitchell</c:v>
                </c:pt>
                <c:pt idx="4">
                  <c:v>Avery</c:v>
                </c:pt>
                <c:pt idx="5">
                  <c:v>Ashe</c:v>
                </c:pt>
                <c:pt idx="6">
                  <c:v>Alleghany</c:v>
                </c:pt>
                <c:pt idx="7">
                  <c:v>High Country</c:v>
                </c:pt>
                <c:pt idx="8">
                  <c:v>North Carolina</c:v>
                </c:pt>
                <c:pt idx="9">
                  <c:v>United States</c:v>
                </c:pt>
              </c:strCache>
            </c:strRef>
          </c:cat>
          <c:val>
            <c:numRef>
              <c:f>Sheet1!$B$2:$B$11</c:f>
              <c:numCache>
                <c:formatCode>0.0</c:formatCode>
                <c:ptCount val="10"/>
                <c:pt idx="0">
                  <c:v>74.796534523496987</c:v>
                </c:pt>
                <c:pt idx="1">
                  <c:v>56.009536035209976</c:v>
                </c:pt>
                <c:pt idx="2">
                  <c:v>22.417688055755828</c:v>
                </c:pt>
                <c:pt idx="3">
                  <c:v>100</c:v>
                </c:pt>
                <c:pt idx="4">
                  <c:v>61.508309814989026</c:v>
                </c:pt>
                <c:pt idx="5">
                  <c:v>70.041798174528708</c:v>
                </c:pt>
                <c:pt idx="6">
                  <c:v>100</c:v>
                </c:pt>
                <c:pt idx="7">
                  <c:v>62</c:v>
                </c:pt>
                <c:pt idx="8">
                  <c:v>29.7</c:v>
                </c:pt>
                <c:pt idx="9">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B$2:$B$4</c:f>
              <c:numCache>
                <c:formatCode>0.00</c:formatCode>
                <c:ptCount val="3"/>
                <c:pt idx="0">
                  <c:v>3.9456284717007351</c:v>
                </c:pt>
                <c:pt idx="1">
                  <c:v>4.4296238962062287</c:v>
                </c:pt>
                <c:pt idx="2">
                  <c:v>4.37</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B$2:$B$4</c:f>
              <c:numCache>
                <c:formatCode>0.0</c:formatCode>
                <c:ptCount val="3"/>
                <c:pt idx="0">
                  <c:v>9.6993852410295798</c:v>
                </c:pt>
                <c:pt idx="1">
                  <c:v>10.285900434333007</c:v>
                </c:pt>
                <c:pt idx="2" formatCode="#,##0.0">
                  <c:v>7.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C$2:$C$4</c:f>
              <c:numCache>
                <c:formatCode>0.0</c:formatCode>
                <c:ptCount val="3"/>
                <c:pt idx="0">
                  <c:v>9.5092908053327836</c:v>
                </c:pt>
                <c:pt idx="1">
                  <c:v>10.158199176779275</c:v>
                </c:pt>
                <c:pt idx="2" formatCode="#,##0.0">
                  <c:v>6.6</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B$2:$B$4</c:f>
              <c:numCache>
                <c:formatCode>0.0</c:formatCode>
                <c:ptCount val="3"/>
                <c:pt idx="0">
                  <c:v>35.163543124718231</c:v>
                </c:pt>
                <c:pt idx="1">
                  <c:v>32.670704756158578</c:v>
                </c:pt>
                <c:pt idx="2">
                  <c:v>29.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C$2:$C$4</c:f>
              <c:numCache>
                <c:formatCode>0.0</c:formatCode>
                <c:ptCount val="3"/>
                <c:pt idx="0">
                  <c:v>9.5092908053327836</c:v>
                </c:pt>
                <c:pt idx="1">
                  <c:v>10.158199176779275</c:v>
                </c:pt>
                <c:pt idx="2">
                  <c:v>6.6</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B$2:$B$4</c:f>
              <c:numCache>
                <c:formatCode>0.0</c:formatCode>
                <c:ptCount val="3"/>
                <c:pt idx="0">
                  <c:v>3.4315339366940902</c:v>
                </c:pt>
                <c:pt idx="1">
                  <c:v>3.1906212529243381</c:v>
                </c:pt>
                <c:pt idx="2" formatCode="#,##0.0">
                  <c:v>2.1</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B$2:$B$4</c:f>
              <c:numCache>
                <c:formatCode>#,##0.0</c:formatCode>
                <c:ptCount val="3"/>
                <c:pt idx="0">
                  <c:v>17.077640866132313</c:v>
                </c:pt>
                <c:pt idx="1">
                  <c:v>22.208065151207357</c:v>
                </c:pt>
                <c:pt idx="2">
                  <c:v>22.513903012548795</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C$2:$C$4</c:f>
              <c:numCache>
                <c:formatCode>#,##0.0</c:formatCode>
                <c:ptCount val="3"/>
                <c:pt idx="0">
                  <c:v>12.674243330541932</c:v>
                </c:pt>
                <c:pt idx="1">
                  <c:v>9.4514220187822495</c:v>
                </c:pt>
                <c:pt idx="2">
                  <c:v>9.2013176864544484</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D$2:$D$4</c:f>
              <c:numCache>
                <c:formatCode>#,##0.0</c:formatCode>
                <c:ptCount val="3"/>
                <c:pt idx="0">
                  <c:v>34.100729752362724</c:v>
                </c:pt>
                <c:pt idx="1">
                  <c:v>39.051455663931264</c:v>
                </c:pt>
                <c:pt idx="2">
                  <c:v>39.255165420472913</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E$2:$E$4</c:f>
              <c:numCache>
                <c:formatCode>#,##0.0</c:formatCode>
                <c:ptCount val="3"/>
                <c:pt idx="0">
                  <c:v>14.502213183395144</c:v>
                </c:pt>
                <c:pt idx="1">
                  <c:v>13.023682210764095</c:v>
                </c:pt>
                <c:pt idx="2">
                  <c:v>12.989415579926018</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F$2:$F$4</c:f>
              <c:numCache>
                <c:formatCode>#,##0.0</c:formatCode>
                <c:ptCount val="3"/>
                <c:pt idx="0">
                  <c:v>21.64517286756789</c:v>
                </c:pt>
                <c:pt idx="1">
                  <c:v>16.265374955315039</c:v>
                </c:pt>
                <c:pt idx="2">
                  <c:v>16.04019830059782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B$2:$B$4</c:f>
              <c:numCache>
                <c:formatCode>0.0</c:formatCode>
                <c:ptCount val="3"/>
                <c:pt idx="0">
                  <c:v>28.70828963274613</c:v>
                </c:pt>
                <c:pt idx="1">
                  <c:v>28.399462765329204</c:v>
                </c:pt>
                <c:pt idx="2">
                  <c:v>31.9393258696926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C$2:$C$4</c:f>
              <c:numCache>
                <c:formatCode>0.0</c:formatCode>
                <c:ptCount val="3"/>
                <c:pt idx="0">
                  <c:v>41.555902088108759</c:v>
                </c:pt>
                <c:pt idx="1">
                  <c:v>42.725477774104526</c:v>
                </c:pt>
                <c:pt idx="2">
                  <c:v>46.015500811198926</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High Country</c:v>
                </c:pt>
              </c:strCache>
            </c:strRef>
          </c:cat>
          <c:val>
            <c:numRef>
              <c:f>Sheet1!$D$2:$D$4</c:f>
              <c:numCache>
                <c:formatCode>0.0</c:formatCode>
                <c:ptCount val="3"/>
                <c:pt idx="0">
                  <c:v>29.735808279145072</c:v>
                </c:pt>
                <c:pt idx="1">
                  <c:v>28.875059460566249</c:v>
                </c:pt>
                <c:pt idx="2">
                  <c:v>22.045173319108407</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B$2:$B$4</c:f>
              <c:numCache>
                <c:formatCode>#,##0.0</c:formatCode>
                <c:ptCount val="3"/>
                <c:pt idx="0">
                  <c:v>13.913392960538415</c:v>
                </c:pt>
                <c:pt idx="1">
                  <c:v>10.962591300115909</c:v>
                </c:pt>
                <c:pt idx="2">
                  <c:v>11.12595967644428</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C$2:$C$4</c:f>
              <c:numCache>
                <c:formatCode>#,##0.0</c:formatCode>
                <c:ptCount val="3"/>
                <c:pt idx="0">
                  <c:v>29.554294589273916</c:v>
                </c:pt>
                <c:pt idx="1">
                  <c:v>25.231126134035375</c:v>
                </c:pt>
                <c:pt idx="2">
                  <c:v>26.487129599470212</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D$2:$D$4</c:f>
              <c:numCache>
                <c:formatCode>#,##0.0</c:formatCode>
                <c:ptCount val="3"/>
                <c:pt idx="0">
                  <c:v>31.798148513974699</c:v>
                </c:pt>
                <c:pt idx="1">
                  <c:v>30.789995477690791</c:v>
                </c:pt>
                <c:pt idx="2">
                  <c:v>28.716889020511388</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Country</c:v>
                </c:pt>
                <c:pt idx="1">
                  <c:v>North Carolina</c:v>
                </c:pt>
                <c:pt idx="2">
                  <c:v>United States</c:v>
                </c:pt>
              </c:strCache>
            </c:strRef>
          </c:cat>
          <c:val>
            <c:numRef>
              <c:f>Sheet1!$E$2:$E$4</c:f>
              <c:numCache>
                <c:formatCode>#,##0.0</c:formatCode>
                <c:ptCount val="3"/>
                <c:pt idx="0">
                  <c:v>24.734163936212969</c:v>
                </c:pt>
                <c:pt idx="1">
                  <c:v>33.016287088157931</c:v>
                </c:pt>
                <c:pt idx="2">
                  <c:v>33.67002170357412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 Countr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8.0441238862961395</c:v>
                </c:pt>
                <c:pt idx="1">
                  <c:v>9.5261907738467304</c:v>
                </c:pt>
                <c:pt idx="2">
                  <c:v>5.904961565338924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 Countr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6.7</c:v>
                </c:pt>
                <c:pt idx="1">
                  <c:v>3.2</c:v>
                </c:pt>
                <c:pt idx="2">
                  <c:v>19.2</c:v>
                </c:pt>
                <c:pt idx="3">
                  <c:v>7.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 Countr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8.5</c:v>
                </c:pt>
                <c:pt idx="1">
                  <c:v>16.600000000000001</c:v>
                </c:pt>
                <c:pt idx="2">
                  <c:v>4.3</c:v>
                </c:pt>
                <c:pt idx="3">
                  <c:v>3.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 Countr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34.664582148948263</c:v>
                </c:pt>
                <c:pt idx="1">
                  <c:v>39.716449796076908</c:v>
                </c:pt>
                <c:pt idx="2">
                  <c:v>26.209729174688746</c:v>
                </c:pt>
                <c:pt idx="3">
                  <c:v>17.513768686073959</c:v>
                </c:pt>
                <c:pt idx="4">
                  <c:v>9.0130749319705306</c:v>
                </c:pt>
                <c:pt idx="5" formatCode="0.0">
                  <c:v>5.973833621328067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 Countr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c:formatCode>
                <c:ptCount val="4"/>
                <c:pt idx="0">
                  <c:v>8.5</c:v>
                </c:pt>
                <c:pt idx="1">
                  <c:v>16.100000000000001</c:v>
                </c:pt>
                <c:pt idx="2">
                  <c:v>15.5</c:v>
                </c:pt>
                <c:pt idx="3">
                  <c:v>12.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2/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2/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9.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chart" Target="../charts/chart6.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chart" Target="../charts/chart7.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High Country</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63112177"/>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78499793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7" name="Picture 6" descr="Map&#10;&#10;Description automatically generated">
            <a:extLst>
              <a:ext uri="{FF2B5EF4-FFF2-40B4-BE49-F238E27FC236}">
                <a16:creationId xmlns:a16="http://schemas.microsoft.com/office/drawing/2014/main" id="{2F15C3FC-B04E-31FA-10E5-0CC0CA6757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3" y="1028701"/>
            <a:ext cx="7596753" cy="5372099"/>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F0D8426-CFCD-854A-A97D-207F512F8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5377" y="1028700"/>
            <a:ext cx="7601245" cy="5375275"/>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Map&#10;&#10;Description automatically generated">
            <a:extLst>
              <a:ext uri="{FF2B5EF4-FFF2-40B4-BE49-F238E27FC236}">
                <a16:creationId xmlns:a16="http://schemas.microsoft.com/office/drawing/2014/main" id="{863FFA18-1A6E-FB1C-F203-A44B4B4AC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2641" y="1028700"/>
            <a:ext cx="7546718" cy="533671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249958783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2A659626-F4CD-AFCD-0028-27FFEAEA82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87616344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8" descr="Map&#10;&#10;Description automatically generated">
            <a:extLst>
              <a:ext uri="{FF2B5EF4-FFF2-40B4-BE49-F238E27FC236}">
                <a16:creationId xmlns:a16="http://schemas.microsoft.com/office/drawing/2014/main" id="{83FEB5D9-D3E1-1718-9BA0-1E4E42CB2E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1170754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descr="Map&#10;&#10;Description automatically generated">
            <a:extLst>
              <a:ext uri="{FF2B5EF4-FFF2-40B4-BE49-F238E27FC236}">
                <a16:creationId xmlns:a16="http://schemas.microsoft.com/office/drawing/2014/main" id="{957EE50D-AE79-EDE3-3BB4-E2DC7C8A4C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
        <p:nvSpPr>
          <p:cNvPr id="5" name="TextBox 4">
            <a:extLst>
              <a:ext uri="{FF2B5EF4-FFF2-40B4-BE49-F238E27FC236}">
                <a16:creationId xmlns:a16="http://schemas.microsoft.com/office/drawing/2014/main" id="{9F29C97E-9C24-E0EA-035F-078B45DC2507}"/>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0825477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A picture containing map&#10;&#10;Description automatically generated">
            <a:extLst>
              <a:ext uri="{FF2B5EF4-FFF2-40B4-BE49-F238E27FC236}">
                <a16:creationId xmlns:a16="http://schemas.microsoft.com/office/drawing/2014/main" id="{556F29F2-6997-7A0D-E7B2-05855ADA3C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4007459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with medium confidence">
            <a:extLst>
              <a:ext uri="{FF2B5EF4-FFF2-40B4-BE49-F238E27FC236}">
                <a16:creationId xmlns:a16="http://schemas.microsoft.com/office/drawing/2014/main" id="{41D36A96-EA9A-CCB2-E305-0B946C042E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0401704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8EC4580D-8F08-40A8-A137-3545A4069A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01103299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AFF3357F-A78F-9022-EB5F-1692DE80E8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6282018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Diagram&#10;&#10;Description automatically generated with low confidence">
            <a:extLst>
              <a:ext uri="{FF2B5EF4-FFF2-40B4-BE49-F238E27FC236}">
                <a16:creationId xmlns:a16="http://schemas.microsoft.com/office/drawing/2014/main" id="{BB4A4BAA-6F00-6508-3C3D-2A227BD886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23490667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FF8FB53C-6731-EAFB-623C-544513545D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05941528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E8D36DA1-46A0-22DA-0864-CA5E6CEFD0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8177963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71DE8C41-2B1A-D2CC-5F7C-88BDADC1AA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382105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559BF8BB-95F2-9A33-FBEF-6778F2E961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3739985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A picture containing diagram&#10;&#10;Description automatically generated">
            <a:extLst>
              <a:ext uri="{FF2B5EF4-FFF2-40B4-BE49-F238E27FC236}">
                <a16:creationId xmlns:a16="http://schemas.microsoft.com/office/drawing/2014/main" id="{AD99A92E-6799-7050-B127-B74EC0B4E7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2793" y="1154432"/>
            <a:ext cx="7240607" cy="5120247"/>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81287319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with low confidence">
            <a:extLst>
              <a:ext uri="{FF2B5EF4-FFF2-40B4-BE49-F238E27FC236}">
                <a16:creationId xmlns:a16="http://schemas.microsoft.com/office/drawing/2014/main" id="{3AF20E66-AA6C-0EBE-7285-94038E9712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192791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5F4A4034-085C-189C-4191-CA7E16CDF5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1333" y="1160988"/>
            <a:ext cx="7222067" cy="5107136"/>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068533388"/>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53674249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with medium confidence">
            <a:extLst>
              <a:ext uri="{FF2B5EF4-FFF2-40B4-BE49-F238E27FC236}">
                <a16:creationId xmlns:a16="http://schemas.microsoft.com/office/drawing/2014/main" id="{07C42A41-36FA-8106-B54C-5AF528054D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65927638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57159036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83529116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54679" y="32702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6</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7391" y="478521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96916" y="261055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44228" y="2610557"/>
            <a:ext cx="0" cy="59590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4228" y="4227956"/>
            <a:ext cx="0" cy="55054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62011143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4281729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3012057358"/>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1542379714"/>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23165744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193627212"/>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2040491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41024422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48</TotalTime>
  <Words>1475</Words>
  <Application>Microsoft Office PowerPoint</Application>
  <PresentationFormat>Widescreen</PresentationFormat>
  <Paragraphs>14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23T00:56:53Z</dcterms:modified>
</cp:coreProperties>
</file>